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63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35-4B8C-8C51-D10FD6567D5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35-4B8C-8C51-D10FD6567D5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035-4B8C-8C51-D10FD6567D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224304"/>
        <c:axId val="444227664"/>
      </c:barChart>
      <c:catAx>
        <c:axId val="44422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E510D6-2729-4A5E-6984-66E71CD8FF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4F80A28-B0B1-7F8A-79F7-6BC4E9848E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8FCE4DE-3AA8-9070-1CC8-E66B986200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26564A-E773-0AAF-771E-D73E5562DE2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C9E73-F2F7-4C58-BF31-7F38D6994C8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4961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3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E5EAEB-F281-9E87-D5E7-FB123BAFD3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C679C86-01E7-66D8-0CAC-3964EC23F6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679C86-01E7-66D8-0CAC-3964EC23F6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571EFF03-7AC7-76E0-94E6-94E6414192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tacked Column Chart / Tex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58BFBE8-F653-01C8-6926-CA37483450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CF506B1C-869C-97E1-D1D9-261536B81F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2858749A-C964-D0C6-E138-E01E1458CA3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Placeholder 12">
            <a:extLst>
              <a:ext uri="{FF2B5EF4-FFF2-40B4-BE49-F238E27FC236}">
                <a16:creationId xmlns:a16="http://schemas.microsoft.com/office/drawing/2014/main" id="{A7625EF4-F6CF-5F50-4941-504580EAC5DC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D7376274-60B2-2533-6D52-7DA7B111B3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Vivamus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senectus et netus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A61BD1E4-D977-5C8D-C041-917C57BB0A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16231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1</TotalTime>
  <Words>87</Words>
  <Application>Microsoft Office PowerPoint</Application>
  <PresentationFormat>Widescreen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Stacked Column Chart / 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98</cp:revision>
  <dcterms:created xsi:type="dcterms:W3CDTF">2025-07-09T10:57:17Z</dcterms:created>
  <dcterms:modified xsi:type="dcterms:W3CDTF">2025-10-22T09:56:26Z</dcterms:modified>
  <cp:category/>
</cp:coreProperties>
</file>